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sldIdLst>
    <p:sldId id="256" r:id="rId2"/>
    <p:sldId id="258" r:id="rId3"/>
    <p:sldId id="257" r:id="rId4"/>
    <p:sldId id="268" r:id="rId5"/>
    <p:sldId id="269" r:id="rId6"/>
    <p:sldId id="259" r:id="rId7"/>
    <p:sldId id="264" r:id="rId8"/>
    <p:sldId id="270" r:id="rId9"/>
    <p:sldId id="271" r:id="rId10"/>
    <p:sldId id="263" r:id="rId11"/>
    <p:sldId id="265" r:id="rId12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277" autoAdjust="0"/>
    <p:restoredTop sz="94660"/>
  </p:normalViewPr>
  <p:slideViewPr>
    <p:cSldViewPr snapToGrid="0">
      <p:cViewPr varScale="1">
        <p:scale>
          <a:sx n="64" d="100"/>
          <a:sy n="64" d="100"/>
        </p:scale>
        <p:origin x="192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1D3DA-18A8-4F84-8B7A-324320DB31A4}" type="datetimeFigureOut">
              <a:rPr lang="en-IN" smtClean="0"/>
              <a:t>09-07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5FF03-680A-4654-89F7-4EA6D17438FC}" type="slidenum">
              <a:rPr lang="en-IN" smtClean="0"/>
              <a:t>‹#›</a:t>
            </a:fld>
            <a:endParaRPr lang="en-IN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0009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1D3DA-18A8-4F84-8B7A-324320DB31A4}" type="datetimeFigureOut">
              <a:rPr lang="en-IN" smtClean="0"/>
              <a:t>09-07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5FF03-680A-4654-89F7-4EA6D17438F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38190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1D3DA-18A8-4F84-8B7A-324320DB31A4}" type="datetimeFigureOut">
              <a:rPr lang="en-IN" smtClean="0"/>
              <a:t>09-07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5FF03-680A-4654-89F7-4EA6D17438F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854531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1D3DA-18A8-4F84-8B7A-324320DB31A4}" type="datetimeFigureOut">
              <a:rPr lang="en-IN" smtClean="0"/>
              <a:t>09-07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5FF03-680A-4654-89F7-4EA6D17438F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367613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1D3DA-18A8-4F84-8B7A-324320DB31A4}" type="datetimeFigureOut">
              <a:rPr lang="en-IN" smtClean="0"/>
              <a:t>09-07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5FF03-680A-4654-89F7-4EA6D17438FC}" type="slidenum">
              <a:rPr lang="en-IN" smtClean="0"/>
              <a:t>‹#›</a:t>
            </a:fld>
            <a:endParaRPr lang="en-IN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656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8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1D3DA-18A8-4F84-8B7A-324320DB31A4}" type="datetimeFigureOut">
              <a:rPr lang="en-IN" smtClean="0"/>
              <a:t>09-07-2024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5FF03-680A-4654-89F7-4EA6D17438F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709022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1D3DA-18A8-4F84-8B7A-324320DB31A4}" type="datetimeFigureOut">
              <a:rPr lang="en-IN" smtClean="0"/>
              <a:t>09-07-2024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5FF03-680A-4654-89F7-4EA6D17438F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717981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1D3DA-18A8-4F84-8B7A-324320DB31A4}" type="datetimeFigureOut">
              <a:rPr lang="en-IN" smtClean="0"/>
              <a:t>09-07-2024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5FF03-680A-4654-89F7-4EA6D17438F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61550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1D3DA-18A8-4F84-8B7A-324320DB31A4}" type="datetimeFigureOut">
              <a:rPr lang="en-IN" smtClean="0"/>
              <a:t>09-07-2024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5FF03-680A-4654-89F7-4EA6D17438F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591121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A171D3DA-18A8-4F84-8B7A-324320DB31A4}" type="datetimeFigureOut">
              <a:rPr lang="en-IN" smtClean="0"/>
              <a:t>09-07-2024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E15FF03-680A-4654-89F7-4EA6D17438F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96069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1D3DA-18A8-4F84-8B7A-324320DB31A4}" type="datetimeFigureOut">
              <a:rPr lang="en-IN" smtClean="0"/>
              <a:t>09-07-2024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5FF03-680A-4654-89F7-4EA6D17438F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953729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9" name="Rectangle 8"/>
          <p:cNvSpPr/>
          <p:nvPr/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A171D3DA-18A8-4F84-8B7A-324320DB31A4}" type="datetimeFigureOut">
              <a:rPr lang="en-IN" smtClean="0"/>
              <a:t>09-07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8E15FF03-680A-4654-89F7-4EA6D17438FC}" type="slidenum">
              <a:rPr lang="en-IN" smtClean="0"/>
              <a:t>‹#›</a:t>
            </a:fld>
            <a:endParaRPr lang="en-IN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DCA6B6F-1E70-3014-2FAE-A4D92C7125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01815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6" progId="TCLayout.ActiveDocument.1">
                  <p:embed/>
                </p:oleObj>
              </mc:Choice>
              <mc:Fallback>
                <p:oleObj name="think-cell Slide" r:id="rId14" imgW="425" imgH="42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6422BA-8832-B2C2-DDD8-0C5B82B54C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05783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6.gif"/><Relationship Id="rId5" Type="http://schemas.openxmlformats.org/officeDocument/2006/relationships/image" Target="../media/image5.gif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8.gif"/><Relationship Id="rId5" Type="http://schemas.openxmlformats.org/officeDocument/2006/relationships/image" Target="../media/image7.gif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ABEB7D5-CDCB-C082-39B8-B275FC9208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8013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CB0965-A13A-E5BC-A59F-497BD22229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6491"/>
            <a:ext cx="9144000" cy="2887794"/>
          </a:xfrm>
        </p:spPr>
        <p:txBody>
          <a:bodyPr vert="horz">
            <a:normAutofit/>
          </a:bodyPr>
          <a:lstStyle/>
          <a:p>
            <a:pPr algn="ctr"/>
            <a:r>
              <a:rPr lang="en-IN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SAM. Limits of Operation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AA875B-C68A-00D7-245B-29A9B42DEA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4082" y="3054285"/>
            <a:ext cx="9583918" cy="3327661"/>
          </a:xfrm>
        </p:spPr>
        <p:txBody>
          <a:bodyPr>
            <a:normAutofit/>
          </a:bodyPr>
          <a:lstStyle/>
          <a:p>
            <a:r>
              <a:rPr lang="en-IN" sz="2000" dirty="0">
                <a:solidFill>
                  <a:schemeClr val="tx1"/>
                </a:solidFill>
                <a:latin typeface="Franklin Gothic Book" panose="020B0503020102020204" pitchFamily="34" charset="0"/>
                <a:cs typeface="Times New Roman" panose="02020603050405020304" pitchFamily="18" charset="0"/>
              </a:rPr>
              <a:t>Case Study Of Intelligent System In Production</a:t>
            </a:r>
          </a:p>
          <a:p>
            <a:r>
              <a:rPr lang="en-IN" sz="2000" dirty="0">
                <a:solidFill>
                  <a:schemeClr val="tx1"/>
                </a:solidFill>
                <a:latin typeface="Franklin Gothic Book" panose="020B0503020102020204" pitchFamily="34" charset="0"/>
                <a:cs typeface="Times New Roman" panose="02020603050405020304" pitchFamily="18" charset="0"/>
              </a:rPr>
              <a:t>Prof. Tim Weber</a:t>
            </a:r>
          </a:p>
          <a:p>
            <a:r>
              <a:rPr lang="en-IN" sz="2000" dirty="0">
                <a:solidFill>
                  <a:schemeClr val="tx1"/>
                </a:solidFill>
                <a:latin typeface="Franklin Gothic Book" panose="020B0503020102020204" pitchFamily="34" charset="0"/>
                <a:cs typeface="Times New Roman" panose="02020603050405020304" pitchFamily="18" charset="0"/>
              </a:rPr>
              <a:t>Group 1</a:t>
            </a:r>
          </a:p>
          <a:p>
            <a:pPr lvl="8" algn="l"/>
            <a:r>
              <a:rPr lang="en-IN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1. Ranveer Patil</a:t>
            </a:r>
          </a:p>
          <a:p>
            <a:pPr lvl="8" algn="l"/>
            <a:r>
              <a:rPr lang="en-IN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2. Shokhrukh Khamidov</a:t>
            </a:r>
          </a:p>
          <a:p>
            <a:pPr lvl="8" algn="l"/>
            <a:r>
              <a:rPr lang="en-IN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3. Nevil Rafaliya</a:t>
            </a:r>
          </a:p>
          <a:p>
            <a:pPr lvl="8" algn="l"/>
            <a:r>
              <a:rPr lang="en-IN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4. Naimish Savaliya</a:t>
            </a:r>
          </a:p>
          <a:p>
            <a:pPr lvl="8" algn="l"/>
            <a:r>
              <a:rPr lang="en-IN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5. </a:t>
            </a:r>
            <a:r>
              <a:rPr lang="en-IN" dirty="0" err="1">
                <a:latin typeface="Franklin Gothic Book" panose="020B0503020102020204" pitchFamily="34" charset="0"/>
                <a:cs typeface="Times New Roman" panose="02020603050405020304" pitchFamily="18" charset="0"/>
              </a:rPr>
              <a:t>Zeel</a:t>
            </a:r>
            <a:r>
              <a:rPr lang="en-IN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 Navadiya</a:t>
            </a:r>
          </a:p>
          <a:p>
            <a:pPr lvl="8" algn="l"/>
            <a:endParaRPr lang="en-IN" dirty="0"/>
          </a:p>
          <a:p>
            <a:endParaRPr lang="en-IN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828667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92C7365-C1FB-4B54-5E63-6BCAA9C2E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397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3F8795-44C1-912F-05BD-FE89CABFA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Conclusio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87264F-BEA6-68B4-24ED-E68791C8A4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9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implisitc</a:t>
            </a:r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urbidity meter fails to capture significant change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may sense the tiny difference, however more advanced sensor tools are required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9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WinSAM</a:t>
            </a:r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s extremely vulnerable for water pollution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 accurate result – water has to be changed every time.</a:t>
            </a:r>
            <a:endParaRPr lang="en-IN" sz="1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90494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BC00BD-178D-55BB-02A4-B0B28DEC5F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7280" y="2394408"/>
            <a:ext cx="10058400" cy="3474686"/>
          </a:xfrm>
        </p:spPr>
        <p:txBody>
          <a:bodyPr>
            <a:normAutofit/>
          </a:bodyPr>
          <a:lstStyle/>
          <a:p>
            <a:pPr algn="ctr"/>
            <a:r>
              <a:rPr lang="en-US" sz="4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ank You</a:t>
            </a:r>
            <a:endParaRPr lang="en-IN" sz="4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3082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46D4321-6DCB-8D7D-9BF8-CD0DB169CE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467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17AC2E3-5EF4-3D6E-3474-CAE13ACB20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O</a:t>
            </a:r>
            <a:r>
              <a:rPr lang="en-IN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utli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831B5E-6646-FB68-F990-CB2342C725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IN" sz="24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SAM Introduction and Principle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4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Software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4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Objective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4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Results – Turbidity sensor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4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Results – Scans (</a:t>
            </a:r>
            <a:r>
              <a:rPr lang="en-IN" sz="2400" dirty="0" err="1">
                <a:latin typeface="Franklin Gothic Book" panose="020B0503020102020204" pitchFamily="34" charset="0"/>
                <a:cs typeface="Times New Roman" panose="02020603050405020304" pitchFamily="18" charset="0"/>
              </a:rPr>
              <a:t>WinSAM</a:t>
            </a:r>
            <a:r>
              <a:rPr lang="en-IN" sz="24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)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4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743690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15B700-D4C3-4614-E42A-8F6B315F70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221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89575D-2948-6539-3378-046656B54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SAM Introduction and Princip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8DF2CB-BFA5-5F7F-817E-4EA57A9D2F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7280" y="1737360"/>
            <a:ext cx="10058400" cy="4131734"/>
          </a:xfrm>
        </p:spPr>
        <p:txBody>
          <a:bodyPr>
            <a:normAutofit fontScale="25000" lnSpcReduction="20000"/>
          </a:bodyPr>
          <a:lstStyle/>
          <a:p>
            <a:pPr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7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600" b="1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Introduction:</a:t>
            </a:r>
          </a:p>
          <a:p>
            <a:pPr marL="342900" indent="-342900">
              <a:lnSpc>
                <a:spcPct val="120000"/>
              </a:lnSpc>
              <a:buFont typeface="+mj-lt"/>
              <a:buAutoNum type="arabicPeriod"/>
            </a:pPr>
            <a:r>
              <a:rPr lang="en-US" sz="76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Scanning Acoustic Microscopy (SAM) is a non-destructive imaging technique used to analyze the internal structure and properties of materials at micrometer and nanometer scales.</a:t>
            </a:r>
          </a:p>
          <a:p>
            <a:pPr marL="342900" indent="-342900">
              <a:lnSpc>
                <a:spcPct val="120000"/>
              </a:lnSpc>
              <a:buFont typeface="+mj-lt"/>
              <a:buAutoNum type="arabicPeriod"/>
            </a:pPr>
            <a:r>
              <a:rPr lang="en-US" sz="76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It utilizes high-frequency ultrasound waves to inspect materials, providing detailed information about their internal features such as defects, microstructure, and material properties.</a:t>
            </a: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7600" b="1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 Principle:</a:t>
            </a:r>
          </a:p>
          <a:p>
            <a:pPr marL="342900" indent="-342900">
              <a:lnSpc>
                <a:spcPct val="120000"/>
              </a:lnSpc>
              <a:buFont typeface="+mj-lt"/>
              <a:buAutoNum type="arabicPeriod"/>
            </a:pPr>
            <a:r>
              <a:rPr lang="en-US" sz="76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SAM operates on the principle of acoustic microscopy, where ultrasonic waves are generated and transmitted into the material being studied.</a:t>
            </a:r>
          </a:p>
          <a:p>
            <a:pPr marL="342900" indent="-342900">
              <a:lnSpc>
                <a:spcPct val="120000"/>
              </a:lnSpc>
              <a:buFont typeface="+mj-lt"/>
              <a:buAutoNum type="arabicPeriod"/>
            </a:pPr>
            <a:r>
              <a:rPr lang="en-US" sz="76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A transducer generates high-frequency sound waves (typically in the range of tens to hundreds of megahertz), which are focused onto the sample surface.</a:t>
            </a:r>
          </a:p>
          <a:p>
            <a:pPr marL="342900" indent="-342900">
              <a:lnSpc>
                <a:spcPct val="120000"/>
              </a:lnSpc>
              <a:buFont typeface="+mj-lt"/>
              <a:buAutoNum type="arabicPeriod"/>
            </a:pPr>
            <a:r>
              <a:rPr lang="en-US" sz="76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These sound waves travel through the material, and their interaction with internal features such as interfaces, inclusions, or defects causes reflection, scattering, or diffraction of the waves.</a:t>
            </a:r>
          </a:p>
        </p:txBody>
      </p:sp>
    </p:spTree>
    <p:extLst>
      <p:ext uri="{BB962C8B-B14F-4D97-AF65-F5344CB8AC3E}">
        <p14:creationId xmlns:p14="http://schemas.microsoft.com/office/powerpoint/2010/main" val="8649095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iagram of a diagram of a transducer&#10;&#10;Description automatically generated">
            <a:extLst>
              <a:ext uri="{FF2B5EF4-FFF2-40B4-BE49-F238E27FC236}">
                <a16:creationId xmlns:a16="http://schemas.microsoft.com/office/drawing/2014/main" id="{5E3E7529-B800-0111-8321-200BB2FA7F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916" y="483464"/>
            <a:ext cx="6201932" cy="535422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AB6BDA8-6C10-B20D-3FEA-4A0E76AD95F7}"/>
              </a:ext>
            </a:extLst>
          </p:cNvPr>
          <p:cNvSpPr/>
          <p:nvPr/>
        </p:nvSpPr>
        <p:spPr>
          <a:xfrm>
            <a:off x="6919274" y="483464"/>
            <a:ext cx="4619134" cy="53542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72A697-F2C8-9F2C-4FCD-47DB2EBB7996}"/>
              </a:ext>
            </a:extLst>
          </p:cNvPr>
          <p:cNvSpPr txBox="1"/>
          <p:nvPr/>
        </p:nvSpPr>
        <p:spPr>
          <a:xfrm>
            <a:off x="698490" y="5914476"/>
            <a:ext cx="36881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https://www.mdpi.com/1424-8220/19/22/4868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7521B0-7CE5-0237-B3C0-CA8738546F9D}"/>
              </a:ext>
            </a:extLst>
          </p:cNvPr>
          <p:cNvSpPr txBox="1"/>
          <p:nvPr/>
        </p:nvSpPr>
        <p:spPr>
          <a:xfrm>
            <a:off x="7183023" y="2476239"/>
            <a:ext cx="4149700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9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Transducer emits ultrasonic waves into the direction of material, waves hit the surface externally and internally and reflect back to the transducer.</a:t>
            </a:r>
          </a:p>
          <a:p>
            <a:endParaRPr lang="en-GB" sz="1900" dirty="0">
              <a:latin typeface="Franklin Gothic Book" panose="020B0503020102020204" pitchFamily="34" charset="0"/>
              <a:cs typeface="Times New Roman" panose="02020603050405020304" pitchFamily="18" charset="0"/>
            </a:endParaRPr>
          </a:p>
          <a:p>
            <a:r>
              <a:rPr lang="en-GB" sz="19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Echoes are created and are being read by sensor.</a:t>
            </a:r>
          </a:p>
        </p:txBody>
      </p:sp>
    </p:spTree>
    <p:extLst>
      <p:ext uri="{BB962C8B-B14F-4D97-AF65-F5344CB8AC3E}">
        <p14:creationId xmlns:p14="http://schemas.microsoft.com/office/powerpoint/2010/main" val="20828955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B6BDA8-6C10-B20D-3FEA-4A0E76AD95F7}"/>
              </a:ext>
            </a:extLst>
          </p:cNvPr>
          <p:cNvSpPr/>
          <p:nvPr/>
        </p:nvSpPr>
        <p:spPr>
          <a:xfrm>
            <a:off x="7220933" y="1442978"/>
            <a:ext cx="4619134" cy="417404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7521B0-7CE5-0237-B3C0-CA8738546F9D}"/>
              </a:ext>
            </a:extLst>
          </p:cNvPr>
          <p:cNvSpPr txBox="1"/>
          <p:nvPr/>
        </p:nvSpPr>
        <p:spPr>
          <a:xfrm>
            <a:off x="8384683" y="1794710"/>
            <a:ext cx="3138825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9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Generally, it handles advanced image analysis, provides a defect detection functionality,</a:t>
            </a:r>
          </a:p>
          <a:p>
            <a:r>
              <a:rPr lang="en-GB" sz="19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size and position analysis.</a:t>
            </a:r>
          </a:p>
          <a:p>
            <a:endParaRPr lang="en-GB" sz="1900" dirty="0">
              <a:latin typeface="Franklin Gothic Book" panose="020B0503020102020204" pitchFamily="34" charset="0"/>
              <a:cs typeface="Times New Roman" panose="02020603050405020304" pitchFamily="18" charset="0"/>
            </a:endParaRPr>
          </a:p>
          <a:p>
            <a:r>
              <a:rPr lang="en-GB" sz="19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A-scans, B-scans and C-scans.</a:t>
            </a:r>
          </a:p>
          <a:p>
            <a:endParaRPr lang="en-GB" sz="1900" dirty="0">
              <a:latin typeface="Franklin Gothic Book" panose="020B0503020102020204" pitchFamily="34" charset="0"/>
              <a:cs typeface="Times New Roman" panose="02020603050405020304" pitchFamily="18" charset="0"/>
            </a:endParaRPr>
          </a:p>
          <a:p>
            <a:r>
              <a:rPr lang="en-GB" sz="19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Serves as a main conjunction tool with SAM equipment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6C25C7-6347-4E17-9923-66C32C1723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592" y="1442978"/>
            <a:ext cx="7414532" cy="417404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390213C-0CCB-C087-56E4-06F8C6925791}"/>
              </a:ext>
            </a:extLst>
          </p:cNvPr>
          <p:cNvSpPr txBox="1"/>
          <p:nvPr/>
        </p:nvSpPr>
        <p:spPr>
          <a:xfrm>
            <a:off x="653592" y="738296"/>
            <a:ext cx="48705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Software: SAM =&gt; </a:t>
            </a:r>
            <a:r>
              <a:rPr lang="en-GB" sz="2400" dirty="0" err="1">
                <a:latin typeface="Franklin Gothic Book" panose="020B0503020102020204" pitchFamily="34" charset="0"/>
                <a:cs typeface="Times New Roman" panose="02020603050405020304" pitchFamily="18" charset="0"/>
              </a:rPr>
              <a:t>WinSAM</a:t>
            </a:r>
            <a:endParaRPr lang="en-GB" sz="2400" dirty="0">
              <a:latin typeface="Franklin Gothic Book" panose="020B05030201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00198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DB6BABC-4284-B77E-A270-E1E2F59914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207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CF9A023-8F74-E3B7-81B0-A8DB71D11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776" y="291104"/>
            <a:ext cx="6295741" cy="1450757"/>
          </a:xfrm>
        </p:spPr>
        <p:txBody>
          <a:bodyPr vert="horz"/>
          <a:lstStyle/>
          <a:p>
            <a:r>
              <a:rPr lang="en-IN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Objecti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512936-DB50-FA96-5361-FBBC2AA414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9776" y="1866721"/>
            <a:ext cx="6840490" cy="4351338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The primary objective of our project is to define limits of proces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Determine the main factors that affect the effectiveness of sample </a:t>
            </a:r>
            <a:r>
              <a:rPr lang="en-US" dirty="0" err="1">
                <a:latin typeface="Franklin Gothic Book" panose="020B0503020102020204" pitchFamily="34" charset="0"/>
                <a:cs typeface="Times New Roman" panose="02020603050405020304" pitchFamily="18" charset="0"/>
              </a:rPr>
              <a:t>scaning</a:t>
            </a:r>
            <a:endParaRPr lang="en-US" dirty="0">
              <a:latin typeface="Franklin Gothic Book" panose="020B0503020102020204" pitchFamily="34" charset="0"/>
              <a:cs typeface="Times New Roman" panose="020206030504050203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Additionally, we aim to create a interface for visualizing and understanding turbidity, enhancing accessibility for users.</a:t>
            </a:r>
          </a:p>
          <a:p>
            <a:endParaRPr lang="en-I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E7F2CB0-4948-DB26-8BFA-F912BF9D77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0266" y="291104"/>
            <a:ext cx="4209100" cy="5612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4616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FDBDD7-9EE5-ADA2-E7B6-3BBA94C0E0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244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8E727E-15D0-9623-964A-1F55C01D5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Results</a:t>
            </a:r>
            <a:r>
              <a:rPr lang="ru-RU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 – </a:t>
            </a:r>
            <a:r>
              <a:rPr lang="en-GB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Arduino Turbidity meter</a:t>
            </a:r>
            <a:endParaRPr lang="en-IN" dirty="0">
              <a:latin typeface="Franklin Gothic Book" panose="020B05030201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BE6EF9-A9F4-6AE7-0053-F9DCBA1E18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>
              <a:buFont typeface="Arial" panose="020B0604020202020204" pitchFamily="34" charset="0"/>
              <a:buChar char="•"/>
            </a:pPr>
            <a:endParaRPr lang="en-US" sz="800" b="1" dirty="0">
              <a:latin typeface="Franklin Gothic Book" panose="020B0503020102020204" pitchFamily="34" charset="0"/>
              <a:cs typeface="Times New Roman" panose="02020603050405020304" pitchFamily="18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900" b="1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Mapping: </a:t>
            </a:r>
            <a:r>
              <a:rPr lang="en-US" sz="19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0-10 units, where 0 – the lowest turbidity, 10 – the highest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900" dirty="0">
              <a:latin typeface="Franklin Gothic Book" panose="020B0503020102020204" pitchFamily="34" charset="0"/>
              <a:cs typeface="Times New Roman" panose="02020603050405020304" pitchFamily="18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endParaRPr lang="en-US" sz="200" dirty="0">
              <a:latin typeface="Franklin Gothic Book" panose="020B0503020102020204" pitchFamily="34" charset="0"/>
              <a:cs typeface="Times New Roman" panose="02020603050405020304" pitchFamily="18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900" b="1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First day / Fresh distilled water:</a:t>
            </a:r>
            <a:r>
              <a:rPr lang="en-IN" sz="19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 9.1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IN" sz="1900" dirty="0">
              <a:latin typeface="Franklin Gothic Book" panose="020B0503020102020204" pitchFamily="34" charset="0"/>
              <a:cs typeface="Times New Roman" panose="02020603050405020304" pitchFamily="18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900" b="1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2 weeks later / Aged water: </a:t>
            </a:r>
            <a:r>
              <a:rPr lang="en-IN" sz="19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8.8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IN" sz="1900" dirty="0">
              <a:latin typeface="Franklin Gothic Book" panose="020B0503020102020204" pitchFamily="34" charset="0"/>
              <a:cs typeface="Times New Roman" panose="02020603050405020304" pitchFamily="18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9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There is a difference, but very small -&gt; 3% change.</a:t>
            </a:r>
          </a:p>
        </p:txBody>
      </p:sp>
    </p:spTree>
    <p:extLst>
      <p:ext uri="{BB962C8B-B14F-4D97-AF65-F5344CB8AC3E}">
        <p14:creationId xmlns:p14="http://schemas.microsoft.com/office/powerpoint/2010/main" val="2641784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FDBDD7-9EE5-ADA2-E7B6-3BBA94C0E0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2226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FDBDD7-9EE5-ADA2-E7B6-3BBA94C0E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8E727E-15D0-9623-964A-1F55C01D5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Results</a:t>
            </a:r>
            <a:r>
              <a:rPr lang="ru-RU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 – </a:t>
            </a:r>
            <a:r>
              <a:rPr lang="en-GB" dirty="0" err="1">
                <a:latin typeface="Franklin Gothic Book" panose="020B0503020102020204" pitchFamily="34" charset="0"/>
                <a:cs typeface="Times New Roman" panose="02020603050405020304" pitchFamily="18" charset="0"/>
              </a:rPr>
              <a:t>WinSAM</a:t>
            </a:r>
            <a:r>
              <a:rPr lang="en-GB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 Scan</a:t>
            </a:r>
            <a:endParaRPr lang="en-IN" dirty="0">
              <a:latin typeface="Franklin Gothic Book" panose="020B05030201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C6AA969-CAD5-B70B-1F7D-2FF163B1F7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3389" y="2598821"/>
            <a:ext cx="2286000" cy="2286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25704DB-E2A4-433D-B2AA-0EB82305DDB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6043" y="2598821"/>
            <a:ext cx="2286000" cy="2286000"/>
          </a:xfrm>
          <a:prstGeom prst="rect">
            <a:avLst/>
          </a:prstGeom>
        </p:spPr>
      </p:pic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9209069-0567-6DB8-3F2E-FC74EA182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66511" y="4884821"/>
            <a:ext cx="10058400" cy="4023360"/>
          </a:xfrm>
        </p:spPr>
        <p:txBody>
          <a:bodyPr>
            <a:normAutofit/>
          </a:bodyPr>
          <a:lstStyle/>
          <a:p>
            <a:pPr marL="201168" lvl="1" indent="0">
              <a:buNone/>
            </a:pPr>
            <a:endParaRPr lang="en-IN" sz="1900" dirty="0">
              <a:latin typeface="Franklin Gothic Book" panose="020B0503020102020204" pitchFamily="34" charset="0"/>
              <a:cs typeface="Times New Roman" panose="02020603050405020304" pitchFamily="18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9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Fresh water – 10/06/2024</a:t>
            </a:r>
          </a:p>
        </p:txBody>
      </p:sp>
    </p:spTree>
    <p:extLst>
      <p:ext uri="{BB962C8B-B14F-4D97-AF65-F5344CB8AC3E}">
        <p14:creationId xmlns:p14="http://schemas.microsoft.com/office/powerpoint/2010/main" val="30874817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FDBDD7-9EE5-ADA2-E7B6-3BBA94C0E0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4834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FDBDD7-9EE5-ADA2-E7B6-3BBA94C0E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8E727E-15D0-9623-964A-1F55C01D5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Results</a:t>
            </a:r>
            <a:r>
              <a:rPr lang="ru-RU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 – </a:t>
            </a:r>
            <a:r>
              <a:rPr lang="en-GB" dirty="0" err="1">
                <a:latin typeface="Franklin Gothic Book" panose="020B0503020102020204" pitchFamily="34" charset="0"/>
                <a:cs typeface="Times New Roman" panose="02020603050405020304" pitchFamily="18" charset="0"/>
              </a:rPr>
              <a:t>WinSAM</a:t>
            </a:r>
            <a:r>
              <a:rPr lang="en-GB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 Scan</a:t>
            </a:r>
            <a:endParaRPr lang="en-IN" dirty="0">
              <a:latin typeface="Franklin Gothic Book" panose="020B05030201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658A5E8-F2FA-150B-2F64-920FD970180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6297" y="1946108"/>
            <a:ext cx="4000500" cy="4000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D6D7893-9184-AA68-5412-B3A4EAAEF7F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7147" y="1946108"/>
            <a:ext cx="2286000" cy="228600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81672F9-CA81-6782-871A-22A6FDCB18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26679" y="4186989"/>
            <a:ext cx="3798570" cy="2671011"/>
          </a:xfrm>
        </p:spPr>
        <p:txBody>
          <a:bodyPr>
            <a:normAutofit/>
          </a:bodyPr>
          <a:lstStyle/>
          <a:p>
            <a:pPr marL="201168" lvl="1" indent="0">
              <a:buNone/>
            </a:pPr>
            <a:endParaRPr lang="en-IN" sz="1900" dirty="0">
              <a:latin typeface="Franklin Gothic Book" panose="020B0503020102020204" pitchFamily="34" charset="0"/>
              <a:cs typeface="Times New Roman" panose="02020603050405020304" pitchFamily="18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9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2 weeks – 25/06/2024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900" dirty="0">
                <a:latin typeface="Franklin Gothic Book" panose="020B0503020102020204" pitchFamily="34" charset="0"/>
                <a:cs typeface="Times New Roman" panose="02020603050405020304" pitchFamily="18" charset="0"/>
              </a:rPr>
              <a:t>Significant changes</a:t>
            </a:r>
          </a:p>
        </p:txBody>
      </p:sp>
    </p:spTree>
    <p:extLst>
      <p:ext uri="{BB962C8B-B14F-4D97-AF65-F5344CB8AC3E}">
        <p14:creationId xmlns:p14="http://schemas.microsoft.com/office/powerpoint/2010/main" val="249822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">
  <a:themeElements>
    <a:clrScheme name="Retrospect">
      <a:dk1>
        <a:sysClr val="windowText" lastClr="000000"/>
      </a:dk1>
      <a:lt1>
        <a:sysClr val="window" lastClr="FFFFFF"/>
      </a:lt1>
      <a:dk2>
        <a:srgbClr val="514949"/>
      </a:dk2>
      <a:lt2>
        <a:srgbClr val="E1E1DB"/>
      </a:lt2>
      <a:accent1>
        <a:srgbClr val="9DBFBE"/>
      </a:accent1>
      <a:accent2>
        <a:srgbClr val="DB8631"/>
      </a:accent2>
      <a:accent3>
        <a:srgbClr val="E3CC5A"/>
      </a:accent3>
      <a:accent4>
        <a:srgbClr val="ACADA8"/>
      </a:accent4>
      <a:accent5>
        <a:srgbClr val="927C61"/>
      </a:accent5>
      <a:accent6>
        <a:srgbClr val="B3B435"/>
      </a:accent6>
      <a:hlink>
        <a:srgbClr val="0000FF"/>
      </a:hlink>
      <a:folHlink>
        <a:srgbClr val="800080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243AF7DC-D15B-41C0-AE81-23980D1B9FC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228</TotalTime>
  <Words>445</Words>
  <Application>Microsoft Office PowerPoint</Application>
  <PresentationFormat>Widescreen</PresentationFormat>
  <Paragraphs>63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alibri</vt:lpstr>
      <vt:lpstr>Calibri Light</vt:lpstr>
      <vt:lpstr>Franklin Gothic Book</vt:lpstr>
      <vt:lpstr>Times New Roman</vt:lpstr>
      <vt:lpstr>Wingdings</vt:lpstr>
      <vt:lpstr>Retrospect</vt:lpstr>
      <vt:lpstr>think-cell Slide</vt:lpstr>
      <vt:lpstr>SAM. Limits of Operation.</vt:lpstr>
      <vt:lpstr>Outlines</vt:lpstr>
      <vt:lpstr>SAM Introduction and Principle</vt:lpstr>
      <vt:lpstr>PowerPoint Presentation</vt:lpstr>
      <vt:lpstr>PowerPoint Presentation</vt:lpstr>
      <vt:lpstr>Objective</vt:lpstr>
      <vt:lpstr>Results – Arduino Turbidity meter</vt:lpstr>
      <vt:lpstr>Results – WinSAM Scan</vt:lpstr>
      <vt:lpstr>Results – WinSAM Scan</vt:lpstr>
      <vt:lpstr>Conclus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M(Limit of Operation,Visulization) </dc:title>
  <dc:creator>patilranveer225@outlook.com</dc:creator>
  <cp:lastModifiedBy>k43666</cp:lastModifiedBy>
  <cp:revision>15</cp:revision>
  <dcterms:created xsi:type="dcterms:W3CDTF">2024-04-07T19:52:15Z</dcterms:created>
  <dcterms:modified xsi:type="dcterms:W3CDTF">2024-07-09T09:58:49Z</dcterms:modified>
</cp:coreProperties>
</file>